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4"/>
  </p:notesMasterIdLst>
  <p:handoutMasterIdLst>
    <p:handoutMasterId r:id="rId15"/>
  </p:handoutMasterIdLst>
  <p:sldIdLst>
    <p:sldId id="842" r:id="rId3"/>
    <p:sldId id="867" r:id="rId4"/>
    <p:sldId id="868" r:id="rId5"/>
    <p:sldId id="869" r:id="rId6"/>
    <p:sldId id="862" r:id="rId7"/>
    <p:sldId id="863" r:id="rId8"/>
    <p:sldId id="864" r:id="rId9"/>
    <p:sldId id="865" r:id="rId10"/>
    <p:sldId id="870" r:id="rId11"/>
    <p:sldId id="871" r:id="rId12"/>
    <p:sldId id="872" r:id="rId13"/>
  </p:sldIdLst>
  <p:sldSz cx="12192000" cy="6858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Montserrat" panose="020B0604020202020204" charset="-52"/>
      <p:regular r:id="rId20"/>
      <p:bold r:id="rId21"/>
      <p:italic r:id="rId22"/>
      <p:boldItalic r:id="rId23"/>
    </p:embeddedFont>
    <p:embeddedFont>
      <p:font typeface="Tahoma" panose="020B0604030504040204" pitchFamily="34" charset="0"/>
      <p:regular r:id="rId24"/>
      <p:bold r:id="rId25"/>
    </p:embeddedFont>
  </p:embeddedFontLst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3585" autoAdjust="0"/>
  </p:normalViewPr>
  <p:slideViewPr>
    <p:cSldViewPr snapToGrid="0">
      <p:cViewPr varScale="1">
        <p:scale>
          <a:sx n="117" d="100"/>
          <a:sy n="117" d="100"/>
        </p:scale>
        <p:origin x="-606" y="-102"/>
      </p:cViewPr>
      <p:guideLst>
        <p:guide orient="horz" pos="2850"/>
        <p:guide orient="horz" pos="867"/>
        <p:guide orient="horz" pos="686"/>
        <p:guide orient="horz" pos="187"/>
        <p:guide orient="horz" pos="2069"/>
        <p:guide pos="1459"/>
        <p:guide pos="4770"/>
        <p:guide pos="3795"/>
        <p:guide pos="7015"/>
        <p:guide pos="3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3.fntdata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font" Target="fonts/font6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9.fntdata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28.01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28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xmlns="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xmlns="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xmlns="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86" name="Picture 70" descr="Таблетки - подарок В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199" y="1114425"/>
            <a:ext cx="5572125" cy="5572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НОФ и синхронизации данных для выгрузки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612996" y="2838208"/>
            <a:ext cx="6254529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sz="28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НОФ и синхронизации данных для выгрузки</a:t>
            </a:r>
            <a:endParaRPr lang="ru-RU" sz="2800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0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4062414"/>
            <a:ext cx="11793084" cy="20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30" y="1297696"/>
            <a:ext cx="11854542" cy="1677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624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402248" y="2604021"/>
            <a:ext cx="11248188" cy="13229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582006" y="2662294"/>
            <a:ext cx="58187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 вкладк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582005" y="2998468"/>
            <a:ext cx="111745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огично фоновому заданию «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ыгрузка сотрудников (врачей) в НОФ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в списке выгруженных врачей поле «Статус выгрузки» ложь, то этот врач не выгрузился. Необходимо сообщить в НОФ об ошибке выгрузки и передать им поля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JSON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JSON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3573463" y="4874995"/>
            <a:ext cx="8288337" cy="184330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3753221" y="4933268"/>
            <a:ext cx="7695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 вкладк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3753220" y="5269442"/>
            <a:ext cx="82340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 кнопка –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аналогична фоновому заданию «Получение лекарственных средств из НОФ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», после необходимо нажать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 кнопку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«Очистка успешно загруженной номенклатуры (метод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ResultNomListRLPK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»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 кнопка –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аналогична фоновом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аданию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Загрузк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отрудников (врачей) из НОФ (синхронизация)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1031181" y="482257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1175643" y="4770356"/>
            <a:ext cx="533899" cy="655356"/>
            <a:chOff x="6918014" y="355741"/>
            <a:chExt cx="712395" cy="889254"/>
          </a:xfrm>
        </p:grpSpPr>
        <p:sp>
          <p:nvSpPr>
            <p:cNvPr id="27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9102505" flipV="1">
              <a:off x="6918014" y="355741"/>
              <a:ext cx="291793" cy="58811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59070" y="827370"/>
              <a:ext cx="471339" cy="417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Овал 29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5080396" y="411100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5201024" y="4138149"/>
            <a:ext cx="529612" cy="616954"/>
            <a:chOff x="6068838" y="638025"/>
            <a:chExt cx="706675" cy="837146"/>
          </a:xfrm>
        </p:grpSpPr>
        <p:sp>
          <p:nvSpPr>
            <p:cNvPr id="32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2946185" flipV="1">
              <a:off x="6068838" y="968593"/>
              <a:ext cx="313910" cy="506578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6304174" y="638025"/>
              <a:ext cx="471339" cy="417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Овал 3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634744" y="601276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779206" y="5960548"/>
            <a:ext cx="533899" cy="655356"/>
            <a:chOff x="6918014" y="355741"/>
            <a:chExt cx="712395" cy="889254"/>
          </a:xfrm>
        </p:grpSpPr>
        <p:sp>
          <p:nvSpPr>
            <p:cNvPr id="3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9102505" flipV="1">
              <a:off x="6918014" y="355741"/>
              <a:ext cx="291793" cy="58811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59070" y="827370"/>
              <a:ext cx="471339" cy="417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353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30" y="1240547"/>
            <a:ext cx="11838214" cy="1576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788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402248" y="2604021"/>
            <a:ext cx="11248188" cy="13229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582006" y="2662294"/>
            <a:ext cx="58187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 вкладк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582005" y="2998468"/>
            <a:ext cx="104806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некорректных документов или документов с ошибками от НОФА, но не записанных в их базу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до смотреть поля Ответ от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и Ошибки документа и их сообщать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у</a:t>
            </a:r>
            <a:r>
              <a:rPr lang="ru-RU" sz="160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427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40038"/>
            <a:ext cx="10067925" cy="5293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366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автоматическ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0924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выбрать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Дополнительные отчеты и обработки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537400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5688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Администрирование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124351" y="303322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173597" y="3079077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746880" y="256858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694998" y="2681482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2400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7347" y="2483920"/>
            <a:ext cx="6135103" cy="1479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34909"/>
            <a:ext cx="5391150" cy="5443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758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НОФ в автоматическ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5704116" y="1223549"/>
            <a:ext cx="6278334" cy="10924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5895335" y="1323587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5906994" y="1617996"/>
            <a:ext cx="5904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ать обработку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Выгрузка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ыданных лекарственных средств в НОФ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729466" y="515848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778712" y="5204343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5" y="596114"/>
              <a:ext cx="471340" cy="417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5820225" y="4111870"/>
            <a:ext cx="6278334" cy="163733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023103" y="4261935"/>
            <a:ext cx="590400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списке представлены 4 фоновых задания для синхронизации данных и выгрузки выданных лекарственных средств в НОФ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ждое фоновое задание пишет записи в Журнал регистрации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044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015360" y="2543176"/>
            <a:ext cx="6079989" cy="1905000"/>
          </a:xfrm>
          <a:prstGeom prst="roundRect">
            <a:avLst>
              <a:gd name="adj" fmla="val 708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6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71587"/>
            <a:ext cx="5589587" cy="2694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797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НОФ в автоматическ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5991225" y="1214438"/>
            <a:ext cx="6079989" cy="1252537"/>
          </a:xfrm>
          <a:prstGeom prst="roundRect">
            <a:avLst>
              <a:gd name="adj" fmla="val 708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196613" y="1258482"/>
            <a:ext cx="571748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 фоновое задани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грузка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отрудников (врачей) в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Ф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ыгрузк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ВыгрузкаВрачей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нец вы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КонецВыгрузкиВрачей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п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нформаци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Записан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рачей в НОФ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0»</a:t>
            </a:r>
          </a:p>
          <a:p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 фоновое задани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агрузка сотрудников (врачей) из НОФ (синхронизация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о за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ачалоВыполненияСинхронизацииВрачей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нец за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нецВыполненияСинхронизацииВрачей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п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нформаци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Добавлен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рачей из НОФ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0.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записано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рачей с ошибка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0»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192088" y="4129088"/>
            <a:ext cx="5589587" cy="2414588"/>
          </a:xfrm>
          <a:prstGeom prst="roundRect">
            <a:avLst>
              <a:gd name="adj" fmla="val 708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357789" y="4211232"/>
            <a:ext cx="526831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 фоновое задани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олучение лекарственных средств из НОФ</a:t>
            </a:r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НачалоВыполненияСервиса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etNomListRLPK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нец за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КонецВыполненияСервиса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etNomListRLPK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п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нформация «Записано новых препаратов: 0. Изменилась цена у препаратов всего: 0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будет ошибка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пись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Произошла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шибка выгрузки препаратов от НОФ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!!!»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015360" y="4592283"/>
            <a:ext cx="6079989" cy="1856144"/>
          </a:xfrm>
          <a:prstGeom prst="roundRect">
            <a:avLst>
              <a:gd name="adj" fmla="val 708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196613" y="4720136"/>
            <a:ext cx="573018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4 фоновое задание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ыгрузка выданных лекарственных средств в НОФ</a:t>
            </a:r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НОФВыгрузкаВыданныхПрепаратов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нец загрузки запись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НОФКонецВыгрузкиВыданныхПрепаратов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п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нформация «Всего выгружено: 1. Из них: не выгруженных: 0. Записанных с ошибками: 1. Записанных без ошибок: 0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08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40038"/>
            <a:ext cx="10067925" cy="5293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810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0924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выбрать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Дополнительные отчеты и обработки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537400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5688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Администрирование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124351" y="303322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173597" y="3079077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746880" y="256858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694998" y="2681482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9289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005" y="2645527"/>
            <a:ext cx="6135103" cy="1479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34909"/>
            <a:ext cx="5391150" cy="5443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984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5704116" y="1223549"/>
            <a:ext cx="6278334" cy="10924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5895335" y="1323587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5906994" y="1617996"/>
            <a:ext cx="5904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ать обработку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Выгрузка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ыданных лекарственных средств в НОФ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729466" y="515848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778712" y="5204343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5" y="596114"/>
              <a:ext cx="471340" cy="417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5820225" y="4490624"/>
            <a:ext cx="6278334" cy="10924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011444" y="4590662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023103" y="4885071"/>
            <a:ext cx="5904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из списка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Открытие формы обработки»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нажимаем кнопку «Выполнить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7827822" y="325788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7877068" y="3303737"/>
            <a:ext cx="629116" cy="381866"/>
            <a:chOff x="6828490" y="596114"/>
            <a:chExt cx="839445" cy="518156"/>
          </a:xfrm>
        </p:grpSpPr>
        <p:sp>
          <p:nvSpPr>
            <p:cNvPr id="34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5" y="596114"/>
              <a:ext cx="471340" cy="417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66419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9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9" y="1238107"/>
            <a:ext cx="10152062" cy="5430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588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5994785" y="2167784"/>
            <a:ext cx="3913413" cy="8286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186004" y="2267821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197663" y="2562230"/>
            <a:ext cx="3710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ый период выгрузки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640483" y="3261146"/>
            <a:ext cx="3913413" cy="18333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831702" y="33611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843361" y="3655593"/>
            <a:ext cx="37105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нужна ли нам проверка на ошибки заполненность данных врачей и пациентов. Выбирайте с проверкой для более корректной выгрузки данных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1852176" y="5450264"/>
            <a:ext cx="3913413" cy="1090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2043395" y="5550301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2055054" y="5844710"/>
            <a:ext cx="37105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ем кнопку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Выгрузить в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» и ждем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777378" y="194223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921840" y="1890011"/>
            <a:ext cx="533899" cy="655356"/>
            <a:chOff x="6918014" y="355741"/>
            <a:chExt cx="712395" cy="889254"/>
          </a:xfrm>
        </p:grpSpPr>
        <p:sp>
          <p:nvSpPr>
            <p:cNvPr id="42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9102505" flipV="1">
              <a:off x="6918014" y="355741"/>
              <a:ext cx="291793" cy="58811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59070" y="827370"/>
              <a:ext cx="471339" cy="417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4" name="Овал 4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2279647" y="189366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2424109" y="1841442"/>
            <a:ext cx="533899" cy="655356"/>
            <a:chOff x="6918014" y="355741"/>
            <a:chExt cx="712395" cy="889254"/>
          </a:xfrm>
        </p:grpSpPr>
        <p:sp>
          <p:nvSpPr>
            <p:cNvPr id="4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9102505" flipV="1">
              <a:off x="6918014" y="355741"/>
              <a:ext cx="291793" cy="58811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59070" y="827370"/>
              <a:ext cx="471339" cy="417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5003197" y="1887114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5147659" y="1834895"/>
            <a:ext cx="533899" cy="655356"/>
            <a:chOff x="6918014" y="355741"/>
            <a:chExt cx="712395" cy="889254"/>
          </a:xfrm>
        </p:grpSpPr>
        <p:sp>
          <p:nvSpPr>
            <p:cNvPr id="54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9102505" flipV="1">
              <a:off x="6918014" y="355741"/>
              <a:ext cx="291793" cy="58811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59070" y="827370"/>
              <a:ext cx="471339" cy="417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382346" y="194784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526808" y="1895626"/>
            <a:ext cx="533899" cy="655356"/>
            <a:chOff x="6918014" y="355741"/>
            <a:chExt cx="712395" cy="889254"/>
          </a:xfrm>
        </p:grpSpPr>
        <p:sp>
          <p:nvSpPr>
            <p:cNvPr id="58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9102505" flipV="1">
              <a:off x="6918014" y="355741"/>
              <a:ext cx="291793" cy="58811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59070" y="827370"/>
              <a:ext cx="471339" cy="417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197663" y="5441017"/>
            <a:ext cx="3913413" cy="1090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388882" y="554105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400541" y="5835463"/>
            <a:ext cx="37105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ираем количество документов для выгрузки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132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14214"/>
            <a:ext cx="7345305" cy="5456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907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2688249" y="1902889"/>
            <a:ext cx="3913413" cy="8286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2868006" y="1961161"/>
            <a:ext cx="15445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 список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2891127" y="2297335"/>
            <a:ext cx="3710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выгружаемых документов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7857173" y="1369744"/>
            <a:ext cx="3972877" cy="127040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8074729" y="1547539"/>
            <a:ext cx="3853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окончания выгрузки будет заполнены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ледующие списки на форме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3257028" y="3113600"/>
            <a:ext cx="3913413" cy="8286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3436785" y="3171872"/>
            <a:ext cx="15445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 список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3459906" y="3508046"/>
            <a:ext cx="3710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ы с ошибками РЛПК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3177020" y="4400836"/>
            <a:ext cx="3913413" cy="82861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3356777" y="4459108"/>
            <a:ext cx="15445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 список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3379898" y="4795282"/>
            <a:ext cx="3710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ы выгруженные на 100%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7170441" y="5401029"/>
            <a:ext cx="4814730" cy="12120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7350198" y="5459301"/>
            <a:ext cx="15445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 список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7373319" y="5795475"/>
            <a:ext cx="37105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ы выгруженные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 ошибками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600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309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нцип обмена выданных лекарственных средств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з РЛПК в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Ф в ручном режиме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288880" y="1200466"/>
            <a:ext cx="11639141" cy="63520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571750" y="1333400"/>
            <a:ext cx="11135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ые статусы документы «Выдача лекарственных средств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353261" y="1988357"/>
            <a:ext cx="11574759" cy="4156897"/>
          </a:xfrm>
          <a:prstGeom prst="roundRect">
            <a:avLst>
              <a:gd name="adj" fmla="val 861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571750" y="2113382"/>
            <a:ext cx="1120115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Гото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правке»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– статус готовности документа на загрузку в НОФ. «Чистый» документ без ошибок.</a:t>
            </a:r>
          </a:p>
          <a:p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шибки данных документа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 статус говорит о том, что какие-то обязательные поля не заполнены. «Грязный» документ. К выгрузке не готов. Надо смотреть ошибки,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оторые записаны в поле «Ошибки документ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шибки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НОФа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- статус говорит о том, что при выгрузке в НОФ документ не был записан, т.к. есть ошибки синхронизации с РЛПК,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до смотреть поле «Ответ от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НОФ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», в нем содержится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JSON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грузки и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JSON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а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ОФ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Требуется сообщить о них в НОФ! Скорее всего не найден врач в базе НОФ.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Ошибки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НОФа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записан»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 статус успешной выгрузки документа, но была пересортица выданных лекарств.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Данные отправлены успешно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 статус успешной выгрузки документа в НОФ. Без ошибок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Не проверялся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- документ еще был проверен на корректность заполнения данных. При очередном открытии документа статус поменяется, либо на «Готов к отправке», либо «Ошибки данных документа».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704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420</TotalTime>
  <Words>752</Words>
  <Application>Microsoft Office PowerPoint</Application>
  <PresentationFormat>Произвольный</PresentationFormat>
  <Paragraphs>107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0" baseType="lpstr">
      <vt:lpstr>Arial</vt:lpstr>
      <vt:lpstr>Calibri</vt:lpstr>
      <vt:lpstr>HeliosCondC</vt:lpstr>
      <vt:lpstr>Helvetica Neue</vt:lpstr>
      <vt:lpstr>Montserrat</vt:lpstr>
      <vt:lpstr>Tahoma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Vetrov_K_V</cp:lastModifiedBy>
  <cp:revision>947</cp:revision>
  <cp:lastPrinted>2020-04-17T06:55:34Z</cp:lastPrinted>
  <dcterms:created xsi:type="dcterms:W3CDTF">2019-06-12T19:36:33Z</dcterms:created>
  <dcterms:modified xsi:type="dcterms:W3CDTF">2021-02-12T09:25:51Z</dcterms:modified>
</cp:coreProperties>
</file>